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8" r:id="rId2"/>
  </p:sldIdLst>
  <p:sldSz cx="27432000" cy="18288000"/>
  <p:notesSz cx="6858000" cy="9144000"/>
  <p:custDataLst>
    <p:tags r:id="rId4"/>
  </p:custDataLst>
  <p:defaultTextStyle>
    <a:defPPr>
      <a:defRPr lang="en-US"/>
    </a:defPPr>
    <a:lvl1pPr algn="l" defTabSz="2612147" rtl="0" fontAlgn="base">
      <a:spcBef>
        <a:spcPct val="0"/>
      </a:spcBef>
      <a:spcAft>
        <a:spcPct val="0"/>
      </a:spcAft>
      <a:defRPr sz="5128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1305565" indent="-1012500" algn="l" defTabSz="2612147" rtl="0" fontAlgn="base">
      <a:spcBef>
        <a:spcPct val="0"/>
      </a:spcBef>
      <a:spcAft>
        <a:spcPct val="0"/>
      </a:spcAft>
      <a:defRPr sz="5128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2612147" indent="-2026017" algn="l" defTabSz="2612147" rtl="0" fontAlgn="base">
      <a:spcBef>
        <a:spcPct val="0"/>
      </a:spcBef>
      <a:spcAft>
        <a:spcPct val="0"/>
      </a:spcAft>
      <a:defRPr sz="5128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3917712" indent="-3038516" algn="l" defTabSz="2612147" rtl="0" fontAlgn="base">
      <a:spcBef>
        <a:spcPct val="0"/>
      </a:spcBef>
      <a:spcAft>
        <a:spcPct val="0"/>
      </a:spcAft>
      <a:defRPr sz="5128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5224294" indent="-4052033" algn="l" defTabSz="2612147" rtl="0" fontAlgn="base">
      <a:spcBef>
        <a:spcPct val="0"/>
      </a:spcBef>
      <a:spcAft>
        <a:spcPct val="0"/>
      </a:spcAft>
      <a:defRPr sz="5128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1465326" algn="l" defTabSz="586130" rtl="0" eaLnBrk="1" latinLnBrk="0" hangingPunct="1">
      <a:defRPr sz="5128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1758391" algn="l" defTabSz="586130" rtl="0" eaLnBrk="1" latinLnBrk="0" hangingPunct="1">
      <a:defRPr sz="5128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2051456" algn="l" defTabSz="586130" rtl="0" eaLnBrk="1" latinLnBrk="0" hangingPunct="1">
      <a:defRPr sz="5128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2344522" algn="l" defTabSz="586130" rtl="0" eaLnBrk="1" latinLnBrk="0" hangingPunct="1">
      <a:defRPr sz="5128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5760" userDrawn="1">
          <p15:clr>
            <a:srgbClr val="A4A3A4"/>
          </p15:clr>
        </p15:guide>
        <p15:guide id="2" pos="86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4D73"/>
    <a:srgbClr val="0D5E4E"/>
    <a:srgbClr val="D9D9D9"/>
    <a:srgbClr val="FF8585"/>
    <a:srgbClr val="FF4F4F"/>
    <a:srgbClr val="FF15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92"/>
    <p:restoredTop sz="94607"/>
  </p:normalViewPr>
  <p:slideViewPr>
    <p:cSldViewPr>
      <p:cViewPr>
        <p:scale>
          <a:sx n="115" d="100"/>
          <a:sy n="115" d="100"/>
        </p:scale>
        <p:origin x="-9752" y="-8688"/>
      </p:cViewPr>
      <p:guideLst>
        <p:guide orient="horz" pos="5760"/>
        <p:guide pos="8640"/>
      </p:guideLst>
    </p:cSldViewPr>
  </p:slideViewPr>
  <p:notesTextViewPr>
    <p:cViewPr>
      <p:scale>
        <a:sx n="150" d="100"/>
        <a:sy n="15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gan Louise Knight" userId="27c4d50b-d3b0-481a-a6a7-466669afb273" providerId="ADAL" clId="{BDB9474E-1F15-CA4D-BC45-BC0639FAF6EB}"/>
    <pc:docChg chg="undo modSld">
      <pc:chgData name="Megan Louise Knight" userId="27c4d50b-d3b0-481a-a6a7-466669afb273" providerId="ADAL" clId="{BDB9474E-1F15-CA4D-BC45-BC0639FAF6EB}" dt="2018-12-02T23:58:53.452" v="12" actId="14734"/>
      <pc:docMkLst>
        <pc:docMk/>
      </pc:docMkLst>
      <pc:sldChg chg="modSp">
        <pc:chgData name="Megan Louise Knight" userId="27c4d50b-d3b0-481a-a6a7-466669afb273" providerId="ADAL" clId="{BDB9474E-1F15-CA4D-BC45-BC0639FAF6EB}" dt="2018-12-02T23:58:53.452" v="12" actId="14734"/>
        <pc:sldMkLst>
          <pc:docMk/>
          <pc:sldMk cId="1322700991" sldId="258"/>
        </pc:sldMkLst>
        <pc:graphicFrameChg chg="modGraphic">
          <ac:chgData name="Megan Louise Knight" userId="27c4d50b-d3b0-481a-a6a7-466669afb273" providerId="ADAL" clId="{BDB9474E-1F15-CA4D-BC45-BC0639FAF6EB}" dt="2018-12-02T23:58:53.452" v="12" actId="14734"/>
          <ac:graphicFrameMkLst>
            <pc:docMk/>
            <pc:sldMk cId="1322700991" sldId="258"/>
            <ac:graphicFrameMk id="35" creationId="{00000000-0000-0000-0000-000000000000}"/>
          </ac:graphicFrameMkLst>
        </pc:graphicFrameChg>
        <pc:picChg chg="mod">
          <ac:chgData name="Megan Louise Knight" userId="27c4d50b-d3b0-481a-a6a7-466669afb273" providerId="ADAL" clId="{BDB9474E-1F15-CA4D-BC45-BC0639FAF6EB}" dt="2018-12-02T23:37:38.043" v="1" actId="1076"/>
          <ac:picMkLst>
            <pc:docMk/>
            <pc:sldMk cId="1322700991" sldId="258"/>
            <ac:picMk id="38" creationId="{00000000-0000-0000-0000-00000000000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D02D16-6E6A-4CEA-9A20-827E442B11BA}" type="datetimeFigureOut">
              <a:rPr lang="en-US" smtClean="0"/>
              <a:t>12/2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4425" y="1143000"/>
            <a:ext cx="46291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3CC809-0D2C-4A21-99B2-EDC3BA119A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3050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3CC809-0D2C-4A21-99B2-EDC3BA119A1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7902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57400" y="5681134"/>
            <a:ext cx="23317200" cy="39200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14800" y="10363200"/>
            <a:ext cx="19202400" cy="4673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132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26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396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52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5660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679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7925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905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81C03A-65CD-604F-9299-61C1520337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45B108-5E05-EE49-9406-23A1618C9CC8}" type="datetimeFigureOut">
              <a:rPr lang="en-US"/>
              <a:pPr>
                <a:defRPr/>
              </a:pPr>
              <a:t>12/2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CE05ED-D849-9B4F-947C-5FFFB9634B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DA456-A530-9043-BCA0-1AE4DD8A2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E947A1-1F41-2F40-B2A2-C22480BEF13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17203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6E8607-E6EE-F847-8128-7DC0D797C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DBD95F-EEDD-A148-9FE9-80F41AB27D52}" type="datetimeFigureOut">
              <a:rPr lang="en-US"/>
              <a:pPr>
                <a:defRPr/>
              </a:pPr>
              <a:t>12/2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29BA07-C6BB-7B40-8BF2-8B7D1035A8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758274-BAF6-FD4C-9866-6830DBF73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A21EF01-E1A7-D240-A86A-50D75A747D6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407680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29489" y="3513667"/>
            <a:ext cx="25922286" cy="7490036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2625" y="3513667"/>
            <a:ext cx="77309664" cy="7490036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FC5B1A-BDF8-6B44-8E61-2823E2D6BB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96A3F3-C6AD-644F-8882-0C76A5B712F2}" type="datetimeFigureOut">
              <a:rPr lang="en-US"/>
              <a:pPr>
                <a:defRPr/>
              </a:pPr>
              <a:t>12/2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259565-39CA-0044-82C5-0ECE52567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102A4-6D3E-6E4A-9444-43E902452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1800D38-DBF8-964A-93F7-823199BD8D7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771749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E70249-8DA4-8B4A-AFCA-E1F3091BF2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9A61AE-6E06-D34E-81B1-E0A3DB4BE616}" type="datetimeFigureOut">
              <a:rPr lang="en-US"/>
              <a:pPr>
                <a:defRPr/>
              </a:pPr>
              <a:t>12/2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DE436D-56B4-2549-B544-221DFEDAA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3DC25A-9106-A045-9AAC-D0AD65569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9A9B61C-7C76-1348-B2BA-D1D11DBA6C5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34592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6939" y="11751734"/>
            <a:ext cx="23317200" cy="3632200"/>
          </a:xfrm>
        </p:spPr>
        <p:txBody>
          <a:bodyPr anchor="t"/>
          <a:lstStyle>
            <a:lvl1pPr algn="l">
              <a:defRPr sz="989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66939" y="7751236"/>
            <a:ext cx="23317200" cy="4000499"/>
          </a:xfrm>
        </p:spPr>
        <p:txBody>
          <a:bodyPr anchor="b"/>
          <a:lstStyle>
            <a:lvl1pPr marL="0" indent="0">
              <a:buNone/>
              <a:defRPr sz="4945">
                <a:solidFill>
                  <a:schemeClr val="tx1">
                    <a:tint val="75000"/>
                  </a:schemeClr>
                </a:solidFill>
              </a:defRPr>
            </a:lvl1pPr>
            <a:lvl2pPr marL="1132194" indent="0">
              <a:buNone/>
              <a:defRPr sz="4445">
                <a:solidFill>
                  <a:schemeClr val="tx1">
                    <a:tint val="75000"/>
                  </a:schemeClr>
                </a:solidFill>
              </a:defRPr>
            </a:lvl2pPr>
            <a:lvl3pPr marL="2264388" indent="0">
              <a:buNone/>
              <a:defRPr sz="3945">
                <a:solidFill>
                  <a:schemeClr val="tx1">
                    <a:tint val="75000"/>
                  </a:schemeClr>
                </a:solidFill>
              </a:defRPr>
            </a:lvl3pPr>
            <a:lvl4pPr marL="3396582" indent="0">
              <a:buNone/>
              <a:defRPr sz="3445">
                <a:solidFill>
                  <a:schemeClr val="tx1">
                    <a:tint val="75000"/>
                  </a:schemeClr>
                </a:solidFill>
              </a:defRPr>
            </a:lvl4pPr>
            <a:lvl5pPr marL="4528776" indent="0">
              <a:buNone/>
              <a:defRPr sz="3445">
                <a:solidFill>
                  <a:schemeClr val="tx1">
                    <a:tint val="75000"/>
                  </a:schemeClr>
                </a:solidFill>
              </a:defRPr>
            </a:lvl5pPr>
            <a:lvl6pPr marL="5660970" indent="0">
              <a:buNone/>
              <a:defRPr sz="3445">
                <a:solidFill>
                  <a:schemeClr val="tx1">
                    <a:tint val="75000"/>
                  </a:schemeClr>
                </a:solidFill>
              </a:defRPr>
            </a:lvl6pPr>
            <a:lvl7pPr marL="6793164" indent="0">
              <a:buNone/>
              <a:defRPr sz="3445">
                <a:solidFill>
                  <a:schemeClr val="tx1">
                    <a:tint val="75000"/>
                  </a:schemeClr>
                </a:solidFill>
              </a:defRPr>
            </a:lvl7pPr>
            <a:lvl8pPr marL="7925358" indent="0">
              <a:buNone/>
              <a:defRPr sz="3445">
                <a:solidFill>
                  <a:schemeClr val="tx1">
                    <a:tint val="75000"/>
                  </a:schemeClr>
                </a:solidFill>
              </a:defRPr>
            </a:lvl8pPr>
            <a:lvl9pPr marL="9057552" indent="0">
              <a:buNone/>
              <a:defRPr sz="344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0DACA2-1FDE-AD42-824D-B181DC6B12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EFB3B8-2A3D-7E4F-9927-959D46907B17}" type="datetimeFigureOut">
              <a:rPr lang="en-US"/>
              <a:pPr>
                <a:defRPr/>
              </a:pPr>
              <a:t>12/2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B5BF1F-4FC5-9748-B9CB-4E3F5ADF1A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3EAEAC-EF62-2B4B-B258-2ED047504B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F2B1CDF-6385-5E4F-B8C3-BC151C92D3C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50276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2627" y="20480867"/>
            <a:ext cx="51615975" cy="57933168"/>
          </a:xfrm>
        </p:spPr>
        <p:txBody>
          <a:bodyPr/>
          <a:lstStyle>
            <a:lvl1pPr>
              <a:defRPr sz="6945"/>
            </a:lvl1pPr>
            <a:lvl2pPr>
              <a:defRPr sz="5945"/>
            </a:lvl2pPr>
            <a:lvl3pPr>
              <a:defRPr sz="4945"/>
            </a:lvl3pPr>
            <a:lvl4pPr>
              <a:defRPr sz="4445"/>
            </a:lvl4pPr>
            <a:lvl5pPr>
              <a:defRPr sz="4445"/>
            </a:lvl5pPr>
            <a:lvl6pPr>
              <a:defRPr sz="4445"/>
            </a:lvl6pPr>
            <a:lvl7pPr>
              <a:defRPr sz="4445"/>
            </a:lvl7pPr>
            <a:lvl8pPr>
              <a:defRPr sz="4445"/>
            </a:lvl8pPr>
            <a:lvl9pPr>
              <a:defRPr sz="444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35802" y="20480867"/>
            <a:ext cx="51615975" cy="57933168"/>
          </a:xfrm>
        </p:spPr>
        <p:txBody>
          <a:bodyPr/>
          <a:lstStyle>
            <a:lvl1pPr>
              <a:defRPr sz="6945"/>
            </a:lvl1pPr>
            <a:lvl2pPr>
              <a:defRPr sz="5945"/>
            </a:lvl2pPr>
            <a:lvl3pPr>
              <a:defRPr sz="4945"/>
            </a:lvl3pPr>
            <a:lvl4pPr>
              <a:defRPr sz="4445"/>
            </a:lvl4pPr>
            <a:lvl5pPr>
              <a:defRPr sz="4445"/>
            </a:lvl5pPr>
            <a:lvl6pPr>
              <a:defRPr sz="4445"/>
            </a:lvl6pPr>
            <a:lvl7pPr>
              <a:defRPr sz="4445"/>
            </a:lvl7pPr>
            <a:lvl8pPr>
              <a:defRPr sz="4445"/>
            </a:lvl8pPr>
            <a:lvl9pPr>
              <a:defRPr sz="444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9106F75-4942-3A45-86C6-355DB7FDF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F916F0-DF6D-2140-A73A-71E2B8E9A37F}" type="datetimeFigureOut">
              <a:rPr lang="en-US"/>
              <a:pPr>
                <a:defRPr/>
              </a:pPr>
              <a:t>12/2/18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BBD7AC6-77BB-634D-8A4A-601DA16319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33D5D7-8AB2-3845-8657-DE0ED9FDA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853D45E-39F4-7449-8750-D6367BA5AEA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18279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732368"/>
            <a:ext cx="24688800" cy="304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4093635"/>
            <a:ext cx="12120564" cy="1706032"/>
          </a:xfrm>
        </p:spPr>
        <p:txBody>
          <a:bodyPr anchor="b"/>
          <a:lstStyle>
            <a:lvl1pPr marL="0" indent="0">
              <a:buNone/>
              <a:defRPr sz="5945" b="1"/>
            </a:lvl1pPr>
            <a:lvl2pPr marL="1132194" indent="0">
              <a:buNone/>
              <a:defRPr sz="4945" b="1"/>
            </a:lvl2pPr>
            <a:lvl3pPr marL="2264388" indent="0">
              <a:buNone/>
              <a:defRPr sz="4445" b="1"/>
            </a:lvl3pPr>
            <a:lvl4pPr marL="3396582" indent="0">
              <a:buNone/>
              <a:defRPr sz="3945" b="1"/>
            </a:lvl4pPr>
            <a:lvl5pPr marL="4528776" indent="0">
              <a:buNone/>
              <a:defRPr sz="3945" b="1"/>
            </a:lvl5pPr>
            <a:lvl6pPr marL="5660970" indent="0">
              <a:buNone/>
              <a:defRPr sz="3945" b="1"/>
            </a:lvl6pPr>
            <a:lvl7pPr marL="6793164" indent="0">
              <a:buNone/>
              <a:defRPr sz="3945" b="1"/>
            </a:lvl7pPr>
            <a:lvl8pPr marL="7925358" indent="0">
              <a:buNone/>
              <a:defRPr sz="3945" b="1"/>
            </a:lvl8pPr>
            <a:lvl9pPr marL="9057552" indent="0">
              <a:buNone/>
              <a:defRPr sz="394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71600" y="5799667"/>
            <a:ext cx="12120564" cy="10536768"/>
          </a:xfrm>
        </p:spPr>
        <p:txBody>
          <a:bodyPr/>
          <a:lstStyle>
            <a:lvl1pPr>
              <a:defRPr sz="5945"/>
            </a:lvl1pPr>
            <a:lvl2pPr>
              <a:defRPr sz="4945"/>
            </a:lvl2pPr>
            <a:lvl3pPr>
              <a:defRPr sz="4445"/>
            </a:lvl3pPr>
            <a:lvl4pPr>
              <a:defRPr sz="3945"/>
            </a:lvl4pPr>
            <a:lvl5pPr>
              <a:defRPr sz="3945"/>
            </a:lvl5pPr>
            <a:lvl6pPr>
              <a:defRPr sz="3945"/>
            </a:lvl6pPr>
            <a:lvl7pPr>
              <a:defRPr sz="3945"/>
            </a:lvl7pPr>
            <a:lvl8pPr>
              <a:defRPr sz="3945"/>
            </a:lvl8pPr>
            <a:lvl9pPr>
              <a:defRPr sz="394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3935077" y="4093635"/>
            <a:ext cx="12125325" cy="1706032"/>
          </a:xfrm>
        </p:spPr>
        <p:txBody>
          <a:bodyPr anchor="b"/>
          <a:lstStyle>
            <a:lvl1pPr marL="0" indent="0">
              <a:buNone/>
              <a:defRPr sz="5945" b="1"/>
            </a:lvl1pPr>
            <a:lvl2pPr marL="1132194" indent="0">
              <a:buNone/>
              <a:defRPr sz="4945" b="1"/>
            </a:lvl2pPr>
            <a:lvl3pPr marL="2264388" indent="0">
              <a:buNone/>
              <a:defRPr sz="4445" b="1"/>
            </a:lvl3pPr>
            <a:lvl4pPr marL="3396582" indent="0">
              <a:buNone/>
              <a:defRPr sz="3945" b="1"/>
            </a:lvl4pPr>
            <a:lvl5pPr marL="4528776" indent="0">
              <a:buNone/>
              <a:defRPr sz="3945" b="1"/>
            </a:lvl5pPr>
            <a:lvl6pPr marL="5660970" indent="0">
              <a:buNone/>
              <a:defRPr sz="3945" b="1"/>
            </a:lvl6pPr>
            <a:lvl7pPr marL="6793164" indent="0">
              <a:buNone/>
              <a:defRPr sz="3945" b="1"/>
            </a:lvl7pPr>
            <a:lvl8pPr marL="7925358" indent="0">
              <a:buNone/>
              <a:defRPr sz="3945" b="1"/>
            </a:lvl8pPr>
            <a:lvl9pPr marL="9057552" indent="0">
              <a:buNone/>
              <a:defRPr sz="394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3935077" y="5799667"/>
            <a:ext cx="12125325" cy="10536768"/>
          </a:xfrm>
        </p:spPr>
        <p:txBody>
          <a:bodyPr/>
          <a:lstStyle>
            <a:lvl1pPr>
              <a:defRPr sz="5945"/>
            </a:lvl1pPr>
            <a:lvl2pPr>
              <a:defRPr sz="4945"/>
            </a:lvl2pPr>
            <a:lvl3pPr>
              <a:defRPr sz="4445"/>
            </a:lvl3pPr>
            <a:lvl4pPr>
              <a:defRPr sz="3945"/>
            </a:lvl4pPr>
            <a:lvl5pPr>
              <a:defRPr sz="3945"/>
            </a:lvl5pPr>
            <a:lvl6pPr>
              <a:defRPr sz="3945"/>
            </a:lvl6pPr>
            <a:lvl7pPr>
              <a:defRPr sz="3945"/>
            </a:lvl7pPr>
            <a:lvl8pPr>
              <a:defRPr sz="3945"/>
            </a:lvl8pPr>
            <a:lvl9pPr>
              <a:defRPr sz="394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881483D-3D3B-FB49-B403-DA69B31935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42E9D9-F707-6640-AD17-778AA98A57EE}" type="datetimeFigureOut">
              <a:rPr lang="en-US"/>
              <a:pPr>
                <a:defRPr/>
              </a:pPr>
              <a:t>12/2/18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EA97ED9-6135-164D-ABAA-E8B6FD36FA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DF6D62-E934-0140-9FFF-2D6339BE3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2879EB-2927-E846-A0B7-A7D4550DDAC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54815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44D70ED-C1D6-6D40-B976-C1C47BB48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66786F-9AEB-8645-9BE0-2D6E40300BDD}" type="datetimeFigureOut">
              <a:rPr lang="en-US"/>
              <a:pPr>
                <a:defRPr/>
              </a:pPr>
              <a:t>12/2/18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2BD25D3-A9E9-9D45-A288-73ED1DDDC6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AF3CF45-5A7A-4E4B-865B-B3324C824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AF3DB-DAAB-4445-9414-528C1D4D00F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787848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F45B5271-4810-B646-8859-B8C3D8BEAF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E4ABFF-5879-5D4D-A85B-C95C9166FFAB}" type="datetimeFigureOut">
              <a:rPr lang="en-US"/>
              <a:pPr>
                <a:defRPr/>
              </a:pPr>
              <a:t>12/2/18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7328FB5-9E6B-E946-BEFF-0122ED11E1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A356B9F-5B18-E448-9F92-5A5E07F7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102B849-3817-CC44-8F2C-32F26092207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212846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2" y="728133"/>
            <a:ext cx="9024939" cy="3098800"/>
          </a:xfrm>
        </p:spPr>
        <p:txBody>
          <a:bodyPr anchor="b"/>
          <a:lstStyle>
            <a:lvl1pPr algn="l">
              <a:defRPr sz="494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25150" y="728135"/>
            <a:ext cx="15335250" cy="15608301"/>
          </a:xfrm>
        </p:spPr>
        <p:txBody>
          <a:bodyPr/>
          <a:lstStyle>
            <a:lvl1pPr>
              <a:defRPr sz="7945"/>
            </a:lvl1pPr>
            <a:lvl2pPr>
              <a:defRPr sz="6945"/>
            </a:lvl2pPr>
            <a:lvl3pPr>
              <a:defRPr sz="5945"/>
            </a:lvl3pPr>
            <a:lvl4pPr>
              <a:defRPr sz="4945"/>
            </a:lvl4pPr>
            <a:lvl5pPr>
              <a:defRPr sz="4945"/>
            </a:lvl5pPr>
            <a:lvl6pPr>
              <a:defRPr sz="4945"/>
            </a:lvl6pPr>
            <a:lvl7pPr>
              <a:defRPr sz="4945"/>
            </a:lvl7pPr>
            <a:lvl8pPr>
              <a:defRPr sz="4945"/>
            </a:lvl8pPr>
            <a:lvl9pPr>
              <a:defRPr sz="494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71602" y="3826935"/>
            <a:ext cx="9024939" cy="12509501"/>
          </a:xfrm>
        </p:spPr>
        <p:txBody>
          <a:bodyPr/>
          <a:lstStyle>
            <a:lvl1pPr marL="0" indent="0">
              <a:buNone/>
              <a:defRPr sz="3445"/>
            </a:lvl1pPr>
            <a:lvl2pPr marL="1132194" indent="0">
              <a:buNone/>
              <a:defRPr sz="2945"/>
            </a:lvl2pPr>
            <a:lvl3pPr marL="2264388" indent="0">
              <a:buNone/>
              <a:defRPr sz="2500"/>
            </a:lvl3pPr>
            <a:lvl4pPr marL="3396582" indent="0">
              <a:buNone/>
              <a:defRPr sz="2222"/>
            </a:lvl4pPr>
            <a:lvl5pPr marL="4528776" indent="0">
              <a:buNone/>
              <a:defRPr sz="2222"/>
            </a:lvl5pPr>
            <a:lvl6pPr marL="5660970" indent="0">
              <a:buNone/>
              <a:defRPr sz="2222"/>
            </a:lvl6pPr>
            <a:lvl7pPr marL="6793164" indent="0">
              <a:buNone/>
              <a:defRPr sz="2222"/>
            </a:lvl7pPr>
            <a:lvl8pPr marL="7925358" indent="0">
              <a:buNone/>
              <a:defRPr sz="2222"/>
            </a:lvl8pPr>
            <a:lvl9pPr marL="9057552" indent="0">
              <a:buNone/>
              <a:defRPr sz="222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9620EA61-D526-DB40-AAC6-62B8BE75A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E4981A-32CB-7A41-8EE2-F2E3E1009F2B}" type="datetimeFigureOut">
              <a:rPr lang="en-US"/>
              <a:pPr>
                <a:defRPr/>
              </a:pPr>
              <a:t>12/2/18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29A360A-FDA1-CE4B-A1A2-6253F4CE1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842643E-4AB6-4341-9B10-66D9947DB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67A9466-FB0C-0849-B4BE-A699CCAD678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47881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6864" y="12801600"/>
            <a:ext cx="16459200" cy="1511301"/>
          </a:xfrm>
        </p:spPr>
        <p:txBody>
          <a:bodyPr anchor="b"/>
          <a:lstStyle>
            <a:lvl1pPr algn="l">
              <a:defRPr sz="494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376864" y="1634067"/>
            <a:ext cx="16459200" cy="10972800"/>
          </a:xfrm>
        </p:spPr>
        <p:txBody>
          <a:bodyPr rtlCol="0">
            <a:normAutofit/>
          </a:bodyPr>
          <a:lstStyle>
            <a:lvl1pPr marL="0" indent="0">
              <a:buNone/>
              <a:defRPr sz="7945"/>
            </a:lvl1pPr>
            <a:lvl2pPr marL="1132194" indent="0">
              <a:buNone/>
              <a:defRPr sz="6945"/>
            </a:lvl2pPr>
            <a:lvl3pPr marL="2264388" indent="0">
              <a:buNone/>
              <a:defRPr sz="5945"/>
            </a:lvl3pPr>
            <a:lvl4pPr marL="3396582" indent="0">
              <a:buNone/>
              <a:defRPr sz="4945"/>
            </a:lvl4pPr>
            <a:lvl5pPr marL="4528776" indent="0">
              <a:buNone/>
              <a:defRPr sz="4945"/>
            </a:lvl5pPr>
            <a:lvl6pPr marL="5660970" indent="0">
              <a:buNone/>
              <a:defRPr sz="4945"/>
            </a:lvl6pPr>
            <a:lvl7pPr marL="6793164" indent="0">
              <a:buNone/>
              <a:defRPr sz="4945"/>
            </a:lvl7pPr>
            <a:lvl8pPr marL="7925358" indent="0">
              <a:buNone/>
              <a:defRPr sz="4945"/>
            </a:lvl8pPr>
            <a:lvl9pPr marL="9057552" indent="0">
              <a:buNone/>
              <a:defRPr sz="4945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76864" y="14312901"/>
            <a:ext cx="16459200" cy="2146299"/>
          </a:xfrm>
        </p:spPr>
        <p:txBody>
          <a:bodyPr/>
          <a:lstStyle>
            <a:lvl1pPr marL="0" indent="0">
              <a:buNone/>
              <a:defRPr sz="3445"/>
            </a:lvl1pPr>
            <a:lvl2pPr marL="1132194" indent="0">
              <a:buNone/>
              <a:defRPr sz="2945"/>
            </a:lvl2pPr>
            <a:lvl3pPr marL="2264388" indent="0">
              <a:buNone/>
              <a:defRPr sz="2500"/>
            </a:lvl3pPr>
            <a:lvl4pPr marL="3396582" indent="0">
              <a:buNone/>
              <a:defRPr sz="2222"/>
            </a:lvl4pPr>
            <a:lvl5pPr marL="4528776" indent="0">
              <a:buNone/>
              <a:defRPr sz="2222"/>
            </a:lvl5pPr>
            <a:lvl6pPr marL="5660970" indent="0">
              <a:buNone/>
              <a:defRPr sz="2222"/>
            </a:lvl6pPr>
            <a:lvl7pPr marL="6793164" indent="0">
              <a:buNone/>
              <a:defRPr sz="2222"/>
            </a:lvl7pPr>
            <a:lvl8pPr marL="7925358" indent="0">
              <a:buNone/>
              <a:defRPr sz="2222"/>
            </a:lvl8pPr>
            <a:lvl9pPr marL="9057552" indent="0">
              <a:buNone/>
              <a:defRPr sz="222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ECFE6F46-ED21-8645-8D6C-F562E0991A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7E93A5-FBEA-4D43-8247-51077710EF7C}" type="datetimeFigureOut">
              <a:rPr lang="en-US"/>
              <a:pPr>
                <a:defRPr/>
              </a:pPr>
              <a:t>12/2/18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8EB416D-A599-0043-8DEB-76E3D4BB05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6BE7E93-E688-8447-BD4C-6B2EB01DF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1C6DBA5-D70D-2143-A2EE-6CC8E1D099E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22037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798AAA52-2DFC-874D-89CC-B168D74E47C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372054" y="732014"/>
            <a:ext cx="24687893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07557" tIns="203779" rIns="407557" bIns="20377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7BD90A20-BA46-814B-821D-268B157C68E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1372054" y="4266847"/>
            <a:ext cx="24687893" cy="12069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07557" tIns="203779" rIns="407557" bIns="2037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0D0992-6A53-E849-9054-E181244411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372054" y="16950090"/>
            <a:ext cx="6399893" cy="973667"/>
          </a:xfrm>
          <a:prstGeom prst="rect">
            <a:avLst/>
          </a:prstGeom>
        </p:spPr>
        <p:txBody>
          <a:bodyPr vert="horz" lIns="407557" tIns="203779" rIns="407557" bIns="203779" rtlCol="0" anchor="ctr"/>
          <a:lstStyle>
            <a:lvl1pPr algn="l" defTabSz="2264388" fontAlgn="auto">
              <a:spcBef>
                <a:spcPts val="0"/>
              </a:spcBef>
              <a:spcAft>
                <a:spcPts val="0"/>
              </a:spcAft>
              <a:defRPr sz="2945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C59D03A-4A8A-574B-8F00-06F95CCA5E3A}" type="datetimeFigureOut">
              <a:rPr lang="en-US"/>
              <a:pPr>
                <a:defRPr/>
              </a:pPr>
              <a:t>12/2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C0B473-15CD-E547-985A-18B3B578C1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73054" y="16950090"/>
            <a:ext cx="8685893" cy="973667"/>
          </a:xfrm>
          <a:prstGeom prst="rect">
            <a:avLst/>
          </a:prstGeom>
        </p:spPr>
        <p:txBody>
          <a:bodyPr vert="horz" lIns="407557" tIns="203779" rIns="407557" bIns="203779" rtlCol="0" anchor="ctr"/>
          <a:lstStyle>
            <a:lvl1pPr algn="ctr" defTabSz="2264388" fontAlgn="auto">
              <a:spcBef>
                <a:spcPts val="0"/>
              </a:spcBef>
              <a:spcAft>
                <a:spcPts val="0"/>
              </a:spcAft>
              <a:defRPr sz="2945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D0E871-C025-4F40-8005-F911CBAB19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660054" y="16950090"/>
            <a:ext cx="6399893" cy="973667"/>
          </a:xfrm>
          <a:prstGeom prst="rect">
            <a:avLst/>
          </a:prstGeom>
        </p:spPr>
        <p:txBody>
          <a:bodyPr vert="horz" wrap="square" lIns="407557" tIns="203779" rIns="407557" bIns="203779" numCol="1" anchor="ctr" anchorCtr="0" compatLnSpc="1">
            <a:prstTxWarp prst="textNoShape">
              <a:avLst/>
            </a:prstTxWarp>
          </a:bodyPr>
          <a:lstStyle>
            <a:lvl1pPr algn="r">
              <a:defRPr sz="2945">
                <a:solidFill>
                  <a:srgbClr val="898989"/>
                </a:solidFill>
              </a:defRPr>
            </a:lvl1pPr>
          </a:lstStyle>
          <a:p>
            <a:fld id="{86EAD474-93C9-D94E-935F-49FB55BBCF04}" type="slidenum">
              <a:rPr lang="en-US" altLang="en-US"/>
              <a:pPr/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2264133" rtl="0" fontAlgn="base">
        <a:spcBef>
          <a:spcPct val="0"/>
        </a:spcBef>
        <a:spcAft>
          <a:spcPct val="0"/>
        </a:spcAft>
        <a:defRPr sz="1089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2264133" rtl="0" fontAlgn="base">
        <a:spcBef>
          <a:spcPct val="0"/>
        </a:spcBef>
        <a:spcAft>
          <a:spcPct val="0"/>
        </a:spcAft>
        <a:defRPr sz="10890">
          <a:solidFill>
            <a:schemeClr val="tx1"/>
          </a:solidFill>
          <a:latin typeface="Calibri" panose="020F0502020204030204" pitchFamily="34" charset="0"/>
        </a:defRPr>
      </a:lvl2pPr>
      <a:lvl3pPr algn="ctr" defTabSz="2264133" rtl="0" fontAlgn="base">
        <a:spcBef>
          <a:spcPct val="0"/>
        </a:spcBef>
        <a:spcAft>
          <a:spcPct val="0"/>
        </a:spcAft>
        <a:defRPr sz="10890">
          <a:solidFill>
            <a:schemeClr val="tx1"/>
          </a:solidFill>
          <a:latin typeface="Calibri" panose="020F0502020204030204" pitchFamily="34" charset="0"/>
        </a:defRPr>
      </a:lvl3pPr>
      <a:lvl4pPr algn="ctr" defTabSz="2264133" rtl="0" fontAlgn="base">
        <a:spcBef>
          <a:spcPct val="0"/>
        </a:spcBef>
        <a:spcAft>
          <a:spcPct val="0"/>
        </a:spcAft>
        <a:defRPr sz="10890">
          <a:solidFill>
            <a:schemeClr val="tx1"/>
          </a:solidFill>
          <a:latin typeface="Calibri" panose="020F0502020204030204" pitchFamily="34" charset="0"/>
        </a:defRPr>
      </a:lvl4pPr>
      <a:lvl5pPr algn="ctr" defTabSz="2264133" rtl="0" fontAlgn="base">
        <a:spcBef>
          <a:spcPct val="0"/>
        </a:spcBef>
        <a:spcAft>
          <a:spcPct val="0"/>
        </a:spcAft>
        <a:defRPr sz="10890">
          <a:solidFill>
            <a:schemeClr val="tx1"/>
          </a:solidFill>
          <a:latin typeface="Calibri" panose="020F0502020204030204" pitchFamily="34" charset="0"/>
        </a:defRPr>
      </a:lvl5pPr>
      <a:lvl6pPr marL="254020" algn="ctr" defTabSz="2264133" rtl="0" fontAlgn="base">
        <a:spcBef>
          <a:spcPct val="0"/>
        </a:spcBef>
        <a:spcAft>
          <a:spcPct val="0"/>
        </a:spcAft>
        <a:defRPr sz="10890">
          <a:solidFill>
            <a:schemeClr val="tx1"/>
          </a:solidFill>
          <a:latin typeface="Calibri" panose="020F0502020204030204" pitchFamily="34" charset="0"/>
        </a:defRPr>
      </a:lvl6pPr>
      <a:lvl7pPr marL="508041" algn="ctr" defTabSz="2264133" rtl="0" fontAlgn="base">
        <a:spcBef>
          <a:spcPct val="0"/>
        </a:spcBef>
        <a:spcAft>
          <a:spcPct val="0"/>
        </a:spcAft>
        <a:defRPr sz="10890">
          <a:solidFill>
            <a:schemeClr val="tx1"/>
          </a:solidFill>
          <a:latin typeface="Calibri" panose="020F0502020204030204" pitchFamily="34" charset="0"/>
        </a:defRPr>
      </a:lvl7pPr>
      <a:lvl8pPr marL="762061" algn="ctr" defTabSz="2264133" rtl="0" fontAlgn="base">
        <a:spcBef>
          <a:spcPct val="0"/>
        </a:spcBef>
        <a:spcAft>
          <a:spcPct val="0"/>
        </a:spcAft>
        <a:defRPr sz="10890">
          <a:solidFill>
            <a:schemeClr val="tx1"/>
          </a:solidFill>
          <a:latin typeface="Calibri" panose="020F0502020204030204" pitchFamily="34" charset="0"/>
        </a:defRPr>
      </a:lvl8pPr>
      <a:lvl9pPr marL="1016081" algn="ctr" defTabSz="2264133" rtl="0" fontAlgn="base">
        <a:spcBef>
          <a:spcPct val="0"/>
        </a:spcBef>
        <a:spcAft>
          <a:spcPct val="0"/>
        </a:spcAft>
        <a:defRPr sz="1089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848498" indent="-848498" algn="l" defTabSz="2264133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7945" kern="1200">
          <a:solidFill>
            <a:schemeClr val="tx1"/>
          </a:solidFill>
          <a:latin typeface="+mn-lt"/>
          <a:ea typeface="+mn-ea"/>
          <a:cs typeface="+mn-cs"/>
        </a:defRPr>
      </a:lvl1pPr>
      <a:lvl2pPr marL="1839002" indent="-707376" algn="l" defTabSz="2264133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6945" kern="1200">
          <a:solidFill>
            <a:schemeClr val="tx1"/>
          </a:solidFill>
          <a:latin typeface="+mn-lt"/>
          <a:ea typeface="+mn-ea"/>
          <a:cs typeface="+mn-cs"/>
        </a:defRPr>
      </a:lvl2pPr>
      <a:lvl3pPr marL="2830386" indent="-565372" algn="l" defTabSz="2264133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5945" kern="1200">
          <a:solidFill>
            <a:schemeClr val="tx1"/>
          </a:solidFill>
          <a:latin typeface="+mn-lt"/>
          <a:ea typeface="+mn-ea"/>
          <a:cs typeface="+mn-cs"/>
        </a:defRPr>
      </a:lvl3pPr>
      <a:lvl4pPr marL="3962011" indent="-565372" algn="l" defTabSz="2264133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4945" kern="1200">
          <a:solidFill>
            <a:schemeClr val="tx1"/>
          </a:solidFill>
          <a:latin typeface="+mn-lt"/>
          <a:ea typeface="+mn-ea"/>
          <a:cs typeface="+mn-cs"/>
        </a:defRPr>
      </a:lvl4pPr>
      <a:lvl5pPr marL="5094519" indent="-565372" algn="l" defTabSz="2264133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4945" kern="1200">
          <a:solidFill>
            <a:schemeClr val="tx1"/>
          </a:solidFill>
          <a:latin typeface="+mn-lt"/>
          <a:ea typeface="+mn-ea"/>
          <a:cs typeface="+mn-cs"/>
        </a:defRPr>
      </a:lvl5pPr>
      <a:lvl6pPr marL="6227067" indent="-566097" algn="l" defTabSz="2264388" rtl="0" eaLnBrk="1" latinLnBrk="0" hangingPunct="1">
        <a:spcBef>
          <a:spcPct val="20000"/>
        </a:spcBef>
        <a:buFont typeface="Arial" panose="020B0604020202020204" pitchFamily="34" charset="0"/>
        <a:buChar char="•"/>
        <a:defRPr sz="4945" kern="1200">
          <a:solidFill>
            <a:schemeClr val="tx1"/>
          </a:solidFill>
          <a:latin typeface="+mn-lt"/>
          <a:ea typeface="+mn-ea"/>
          <a:cs typeface="+mn-cs"/>
        </a:defRPr>
      </a:lvl6pPr>
      <a:lvl7pPr marL="7359261" indent="-566097" algn="l" defTabSz="2264388" rtl="0" eaLnBrk="1" latinLnBrk="0" hangingPunct="1">
        <a:spcBef>
          <a:spcPct val="20000"/>
        </a:spcBef>
        <a:buFont typeface="Arial" panose="020B0604020202020204" pitchFamily="34" charset="0"/>
        <a:buChar char="•"/>
        <a:defRPr sz="4945" kern="1200">
          <a:solidFill>
            <a:schemeClr val="tx1"/>
          </a:solidFill>
          <a:latin typeface="+mn-lt"/>
          <a:ea typeface="+mn-ea"/>
          <a:cs typeface="+mn-cs"/>
        </a:defRPr>
      </a:lvl7pPr>
      <a:lvl8pPr marL="8491455" indent="-566097" algn="l" defTabSz="2264388" rtl="0" eaLnBrk="1" latinLnBrk="0" hangingPunct="1">
        <a:spcBef>
          <a:spcPct val="20000"/>
        </a:spcBef>
        <a:buFont typeface="Arial" panose="020B0604020202020204" pitchFamily="34" charset="0"/>
        <a:buChar char="•"/>
        <a:defRPr sz="4945" kern="1200">
          <a:solidFill>
            <a:schemeClr val="tx1"/>
          </a:solidFill>
          <a:latin typeface="+mn-lt"/>
          <a:ea typeface="+mn-ea"/>
          <a:cs typeface="+mn-cs"/>
        </a:defRPr>
      </a:lvl8pPr>
      <a:lvl9pPr marL="9623649" indent="-566097" algn="l" defTabSz="2264388" rtl="0" eaLnBrk="1" latinLnBrk="0" hangingPunct="1">
        <a:spcBef>
          <a:spcPct val="20000"/>
        </a:spcBef>
        <a:buFont typeface="Arial" panose="020B0604020202020204" pitchFamily="34" charset="0"/>
        <a:buChar char="•"/>
        <a:defRPr sz="494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264388" rtl="0" eaLnBrk="1" latinLnBrk="0" hangingPunct="1">
        <a:defRPr sz="4445" kern="1200">
          <a:solidFill>
            <a:schemeClr val="tx1"/>
          </a:solidFill>
          <a:latin typeface="+mn-lt"/>
          <a:ea typeface="+mn-ea"/>
          <a:cs typeface="+mn-cs"/>
        </a:defRPr>
      </a:lvl1pPr>
      <a:lvl2pPr marL="1132194" algn="l" defTabSz="2264388" rtl="0" eaLnBrk="1" latinLnBrk="0" hangingPunct="1">
        <a:defRPr sz="4445" kern="1200">
          <a:solidFill>
            <a:schemeClr val="tx1"/>
          </a:solidFill>
          <a:latin typeface="+mn-lt"/>
          <a:ea typeface="+mn-ea"/>
          <a:cs typeface="+mn-cs"/>
        </a:defRPr>
      </a:lvl2pPr>
      <a:lvl3pPr marL="2264388" algn="l" defTabSz="2264388" rtl="0" eaLnBrk="1" latinLnBrk="0" hangingPunct="1">
        <a:defRPr sz="4445" kern="1200">
          <a:solidFill>
            <a:schemeClr val="tx1"/>
          </a:solidFill>
          <a:latin typeface="+mn-lt"/>
          <a:ea typeface="+mn-ea"/>
          <a:cs typeface="+mn-cs"/>
        </a:defRPr>
      </a:lvl3pPr>
      <a:lvl4pPr marL="3396582" algn="l" defTabSz="2264388" rtl="0" eaLnBrk="1" latinLnBrk="0" hangingPunct="1">
        <a:defRPr sz="4445" kern="1200">
          <a:solidFill>
            <a:schemeClr val="tx1"/>
          </a:solidFill>
          <a:latin typeface="+mn-lt"/>
          <a:ea typeface="+mn-ea"/>
          <a:cs typeface="+mn-cs"/>
        </a:defRPr>
      </a:lvl4pPr>
      <a:lvl5pPr marL="4528776" algn="l" defTabSz="2264388" rtl="0" eaLnBrk="1" latinLnBrk="0" hangingPunct="1">
        <a:defRPr sz="4445" kern="1200">
          <a:solidFill>
            <a:schemeClr val="tx1"/>
          </a:solidFill>
          <a:latin typeface="+mn-lt"/>
          <a:ea typeface="+mn-ea"/>
          <a:cs typeface="+mn-cs"/>
        </a:defRPr>
      </a:lvl5pPr>
      <a:lvl6pPr marL="5660970" algn="l" defTabSz="2264388" rtl="0" eaLnBrk="1" latinLnBrk="0" hangingPunct="1">
        <a:defRPr sz="4445" kern="1200">
          <a:solidFill>
            <a:schemeClr val="tx1"/>
          </a:solidFill>
          <a:latin typeface="+mn-lt"/>
          <a:ea typeface="+mn-ea"/>
          <a:cs typeface="+mn-cs"/>
        </a:defRPr>
      </a:lvl6pPr>
      <a:lvl7pPr marL="6793164" algn="l" defTabSz="2264388" rtl="0" eaLnBrk="1" latinLnBrk="0" hangingPunct="1">
        <a:defRPr sz="4445" kern="1200">
          <a:solidFill>
            <a:schemeClr val="tx1"/>
          </a:solidFill>
          <a:latin typeface="+mn-lt"/>
          <a:ea typeface="+mn-ea"/>
          <a:cs typeface="+mn-cs"/>
        </a:defRPr>
      </a:lvl7pPr>
      <a:lvl8pPr marL="7925358" algn="l" defTabSz="2264388" rtl="0" eaLnBrk="1" latinLnBrk="0" hangingPunct="1">
        <a:defRPr sz="4445" kern="1200">
          <a:solidFill>
            <a:schemeClr val="tx1"/>
          </a:solidFill>
          <a:latin typeface="+mn-lt"/>
          <a:ea typeface="+mn-ea"/>
          <a:cs typeface="+mn-cs"/>
        </a:defRPr>
      </a:lvl8pPr>
      <a:lvl9pPr marL="9057552" algn="l" defTabSz="2264388" rtl="0" eaLnBrk="1" latinLnBrk="0" hangingPunct="1">
        <a:defRPr sz="444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iff"/><Relationship Id="rId13" Type="http://schemas.openxmlformats.org/officeDocument/2006/relationships/image" Target="../media/image8.png"/><Relationship Id="rId1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16.png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17" Type="http://schemas.openxmlformats.org/officeDocument/2006/relationships/image" Target="../media/image12.png"/><Relationship Id="rId2" Type="http://schemas.openxmlformats.org/officeDocument/2006/relationships/tags" Target="../tags/tag2.xml"/><Relationship Id="rId16" Type="http://schemas.openxmlformats.org/officeDocument/2006/relationships/image" Target="../media/image11.png"/><Relationship Id="rId20" Type="http://schemas.openxmlformats.org/officeDocument/2006/relationships/image" Target="../media/image15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0.png"/><Relationship Id="rId10" Type="http://schemas.openxmlformats.org/officeDocument/2006/relationships/image" Target="../media/image5.jpeg"/><Relationship Id="rId19" Type="http://schemas.openxmlformats.org/officeDocument/2006/relationships/image" Target="../media/image1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Relationship Id="rId14" Type="http://schemas.openxmlformats.org/officeDocument/2006/relationships/image" Target="../media/image9.png"/><Relationship Id="rId22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8461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37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22229" y="3628763"/>
            <a:ext cx="9381626" cy="6254416"/>
          </a:xfrm>
          <a:prstGeom prst="rect">
            <a:avLst/>
          </a:prstGeom>
        </p:spPr>
      </p:pic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CF86083C-7657-48A7-A667-F7217FBC72EB}"/>
              </a:ext>
            </a:extLst>
          </p:cNvPr>
          <p:cNvSpPr/>
          <p:nvPr/>
        </p:nvSpPr>
        <p:spPr>
          <a:xfrm>
            <a:off x="5097774" y="9638050"/>
            <a:ext cx="3064944" cy="682217"/>
          </a:xfrm>
          <a:prstGeom prst="triangle">
            <a:avLst/>
          </a:prstGeom>
          <a:gradFill flip="none" rotWithShape="1">
            <a:gsLst>
              <a:gs pos="0">
                <a:srgbClr val="FF8585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CF86083C-7657-48A7-A667-F7217FBC72EB}"/>
              </a:ext>
            </a:extLst>
          </p:cNvPr>
          <p:cNvSpPr/>
          <p:nvPr/>
        </p:nvSpPr>
        <p:spPr>
          <a:xfrm>
            <a:off x="472440" y="9638050"/>
            <a:ext cx="3064944" cy="682217"/>
          </a:xfrm>
          <a:prstGeom prst="triangle">
            <a:avLst/>
          </a:prstGeom>
          <a:gradFill flip="none" rotWithShape="1">
            <a:gsLst>
              <a:gs pos="0">
                <a:srgbClr val="FF8585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2A3C942-0BCA-E54F-A656-13510C65F07F}"/>
              </a:ext>
            </a:extLst>
          </p:cNvPr>
          <p:cNvSpPr/>
          <p:nvPr/>
        </p:nvSpPr>
        <p:spPr>
          <a:xfrm>
            <a:off x="0" y="0"/>
            <a:ext cx="27432000" cy="2667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dirty="0">
                <a:latin typeface="Helvetica" pitchFamily="2" charset="0"/>
              </a:rPr>
              <a:t>Deep Learning Methods for Reading Comprehension Question Answering</a:t>
            </a:r>
          </a:p>
          <a:p>
            <a:pPr algn="ctr"/>
            <a:r>
              <a:rPr lang="en-US" sz="3200" dirty="0">
                <a:latin typeface="Helvetica" pitchFamily="2" charset="0"/>
              </a:rPr>
              <a:t>Nick Landy, Anand </a:t>
            </a:r>
            <a:r>
              <a:rPr lang="en-US" sz="3200" dirty="0" err="1">
                <a:latin typeface="Helvetica" pitchFamily="2" charset="0"/>
              </a:rPr>
              <a:t>Natu</a:t>
            </a:r>
            <a:r>
              <a:rPr lang="en-US" sz="3200" dirty="0">
                <a:latin typeface="Helvetica" pitchFamily="2" charset="0"/>
              </a:rPr>
              <a:t>, Megan Knight</a:t>
            </a:r>
          </a:p>
          <a:p>
            <a:pPr algn="ctr"/>
            <a:r>
              <a:rPr lang="en-US" sz="3200" dirty="0">
                <a:latin typeface="Helvetica" pitchFamily="2" charset="0"/>
              </a:rPr>
              <a:t>Stanford Universit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12438FA-061E-8548-878C-B32F54368CE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1000" y="64256"/>
            <a:ext cx="2619375" cy="2619375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040207A-CF6E-314D-9D4F-836109FDEBE4}"/>
              </a:ext>
            </a:extLst>
          </p:cNvPr>
          <p:cNvSpPr/>
          <p:nvPr/>
        </p:nvSpPr>
        <p:spPr>
          <a:xfrm>
            <a:off x="476703" y="3239139"/>
            <a:ext cx="7620000" cy="678873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latin typeface="Helvetica" pitchFamily="2" charset="0"/>
              </a:rPr>
              <a:t>Motivation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A3DE9674-70CA-B64D-BFCC-4E6B76CC038B}"/>
              </a:ext>
            </a:extLst>
          </p:cNvPr>
          <p:cNvSpPr/>
          <p:nvPr/>
        </p:nvSpPr>
        <p:spPr>
          <a:xfrm>
            <a:off x="476703" y="13000672"/>
            <a:ext cx="7620000" cy="678873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latin typeface="Helvetica" pitchFamily="2" charset="0"/>
              </a:rPr>
              <a:t>Dataset and Context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7FB3F0B-B0E7-3641-8304-963B9D1E4C48}"/>
              </a:ext>
            </a:extLst>
          </p:cNvPr>
          <p:cNvSpPr/>
          <p:nvPr/>
        </p:nvSpPr>
        <p:spPr>
          <a:xfrm>
            <a:off x="18288000" y="3239139"/>
            <a:ext cx="8549640" cy="678873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latin typeface="Helvetica" pitchFamily="2" charset="0"/>
              </a:rPr>
              <a:t>Results and Analysis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BDEA49BF-D54A-2440-ADD2-76074D1D6027}"/>
              </a:ext>
            </a:extLst>
          </p:cNvPr>
          <p:cNvSpPr/>
          <p:nvPr/>
        </p:nvSpPr>
        <p:spPr>
          <a:xfrm>
            <a:off x="476703" y="6921575"/>
            <a:ext cx="7620000" cy="678873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latin typeface="Helvetica" pitchFamily="2" charset="0"/>
              </a:rPr>
              <a:t>Problem Definition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689C2A9E-3227-F84A-80FD-6A19B8F83FEF}"/>
              </a:ext>
            </a:extLst>
          </p:cNvPr>
          <p:cNvSpPr/>
          <p:nvPr/>
        </p:nvSpPr>
        <p:spPr>
          <a:xfrm>
            <a:off x="8917113" y="3239139"/>
            <a:ext cx="8550478" cy="678873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>
                <a:latin typeface="Helvetica" pitchFamily="2" charset="0"/>
              </a:rPr>
              <a:t>Methodology / Model Defini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99C2566-FAF1-FD45-9A47-0FBFE013A00C}"/>
              </a:ext>
            </a:extLst>
          </p:cNvPr>
          <p:cNvSpPr txBox="1"/>
          <p:nvPr/>
        </p:nvSpPr>
        <p:spPr>
          <a:xfrm>
            <a:off x="451303" y="4053840"/>
            <a:ext cx="7620000" cy="2285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27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Reading comprehension is a fundamental and multi-faceted problem in AI applied to NLP</a:t>
            </a:r>
          </a:p>
          <a:p>
            <a:pPr marL="342900" indent="-34290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27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Design a deep learning model for context-intelligent question answering, and examine drivers of performance for specific QA task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BEE6912-BB63-664A-8430-C50EA6A98D1D}"/>
              </a:ext>
            </a:extLst>
          </p:cNvPr>
          <p:cNvSpPr txBox="1"/>
          <p:nvPr/>
        </p:nvSpPr>
        <p:spPr>
          <a:xfrm>
            <a:off x="476703" y="10171450"/>
            <a:ext cx="3729537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Passage (Input):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2" charset="0"/>
            </a:endParaRPr>
          </a:p>
          <a:p>
            <a:pPr>
              <a:spcAft>
                <a:spcPts val="0"/>
              </a:spcAft>
            </a:pPr>
            <a:r>
              <a:rPr lang="en-US" sz="2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Sandra is in the </a:t>
            </a:r>
            <a:r>
              <a:rPr lang="en-US" sz="2200" b="1" i="1" dirty="0">
                <a:solidFill>
                  <a:srgbClr val="FF4F4F"/>
                </a:solidFill>
                <a:latin typeface="Helvetica" pitchFamily="2" charset="0"/>
              </a:rPr>
              <a:t>kitchen</a:t>
            </a:r>
            <a:r>
              <a:rPr lang="en-US" sz="2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. Sandra </a:t>
            </a:r>
            <a:r>
              <a:rPr lang="en-US" sz="2200" b="1" i="1" dirty="0">
                <a:solidFill>
                  <a:srgbClr val="FF4F4F"/>
                </a:solidFill>
                <a:latin typeface="Helvetica" pitchFamily="2" charset="0"/>
              </a:rPr>
              <a:t>picked up </a:t>
            </a:r>
            <a:r>
              <a:rPr lang="en-US" sz="2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the </a:t>
            </a:r>
            <a:r>
              <a:rPr lang="en-US" sz="2200" b="1" i="1" dirty="0">
                <a:solidFill>
                  <a:srgbClr val="FF4F4F"/>
                </a:solidFill>
                <a:latin typeface="Helvetica" pitchFamily="2" charset="0"/>
              </a:rPr>
              <a:t>football </a:t>
            </a:r>
            <a:r>
              <a:rPr lang="en-US" sz="2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there. Sandra traveled </a:t>
            </a:r>
            <a:r>
              <a:rPr lang="en-US" sz="2200" i="1" dirty="0">
                <a:latin typeface="Helvetica" pitchFamily="2" charset="0"/>
              </a:rPr>
              <a:t>to the </a:t>
            </a:r>
            <a:r>
              <a:rPr lang="en-US" sz="2200" b="1" i="1" dirty="0">
                <a:solidFill>
                  <a:srgbClr val="FF4F4F"/>
                </a:solidFill>
                <a:latin typeface="Helvetica" pitchFamily="2" charset="0"/>
              </a:rPr>
              <a:t>hallway</a:t>
            </a:r>
            <a:r>
              <a:rPr lang="en-US" sz="2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. Sandra </a:t>
            </a:r>
            <a:r>
              <a:rPr lang="en-US" sz="2200" b="1" i="1" dirty="0">
                <a:solidFill>
                  <a:srgbClr val="FF4F4F"/>
                </a:solidFill>
                <a:latin typeface="Helvetica" pitchFamily="2" charset="0"/>
              </a:rPr>
              <a:t>discarded </a:t>
            </a:r>
            <a:r>
              <a:rPr lang="en-US" sz="2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the </a:t>
            </a:r>
            <a:r>
              <a:rPr lang="en-US" sz="2200" b="1" i="1" dirty="0">
                <a:solidFill>
                  <a:srgbClr val="FF4F4F"/>
                </a:solidFill>
                <a:latin typeface="Helvetica" pitchFamily="2" charset="0"/>
              </a:rPr>
              <a:t>football </a:t>
            </a:r>
            <a:r>
              <a:rPr lang="en-US" sz="2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there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476703" y="13970000"/>
            <a:ext cx="7620000" cy="330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7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Dataset: </a:t>
            </a:r>
            <a:r>
              <a:rPr lang="en-US" sz="27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Facebook </a:t>
            </a:r>
            <a:r>
              <a:rPr lang="en-US" sz="27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bAbI</a:t>
            </a:r>
            <a:endParaRPr lang="en-US" sz="2700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2" charset="0"/>
            </a:endParaRPr>
          </a:p>
          <a:p>
            <a:pPr>
              <a:spcAft>
                <a:spcPts val="1200"/>
              </a:spcAft>
            </a:pPr>
            <a:r>
              <a:rPr lang="en-US" sz="27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Baseline Model:</a:t>
            </a:r>
            <a:r>
              <a:rPr lang="en-US" sz="27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 Attention-based model with pre-trained </a:t>
            </a:r>
            <a:r>
              <a:rPr lang="en-US" sz="27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GloVe</a:t>
            </a:r>
            <a:r>
              <a:rPr lang="en-US" sz="27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 word </a:t>
            </a:r>
            <a:r>
              <a:rPr lang="en-US" sz="27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embeddings</a:t>
            </a:r>
            <a:r>
              <a:rPr lang="en-US" sz="27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 and bi-directional GRU for context embedding</a:t>
            </a:r>
            <a:endParaRPr lang="en-US" sz="2700" b="1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2" charset="0"/>
            </a:endParaRPr>
          </a:p>
          <a:p>
            <a:pPr>
              <a:spcAft>
                <a:spcPts val="1200"/>
              </a:spcAft>
            </a:pPr>
            <a:r>
              <a:rPr lang="en-US" sz="27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Evaluation Metrics:</a:t>
            </a:r>
            <a:r>
              <a:rPr lang="en-US" sz="27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 Exact Match (EM) accuracy, cross-entropy loss function, Adam optimizer</a:t>
            </a:r>
            <a:endParaRPr lang="en-US" sz="2700" b="1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2" charset="0"/>
            </a:endParaRPr>
          </a:p>
        </p:txBody>
      </p:sp>
      <p:pic>
        <p:nvPicPr>
          <p:cNvPr id="1028" name="Picture 4" descr="Image result for facebook logo">
            <a:extLst>
              <a:ext uri="{FF2B5EF4-FFF2-40B4-BE49-F238E27FC236}">
                <a16:creationId xmlns:a16="http://schemas.microsoft.com/office/drawing/2014/main" id="{94BD211B-BD4F-468A-9789-882B875530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1540" y="13934440"/>
            <a:ext cx="497500" cy="49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3B66EE-775D-4317-888F-2BBB1ECB1A99}"/>
              </a:ext>
            </a:extLst>
          </p:cNvPr>
          <p:cNvCxnSpPr>
            <a:cxnSpLocks/>
          </p:cNvCxnSpPr>
          <p:nvPr/>
        </p:nvCxnSpPr>
        <p:spPr>
          <a:xfrm>
            <a:off x="8506908" y="3239139"/>
            <a:ext cx="0" cy="1459441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58C7607-107F-4F15-BA7C-3B0E31C8D8DA}"/>
              </a:ext>
            </a:extLst>
          </p:cNvPr>
          <p:cNvCxnSpPr>
            <a:cxnSpLocks/>
          </p:cNvCxnSpPr>
          <p:nvPr/>
        </p:nvCxnSpPr>
        <p:spPr>
          <a:xfrm>
            <a:off x="17877796" y="3239139"/>
            <a:ext cx="0" cy="1459441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A3CECF8-B293-46BA-968D-76AD3D877029}"/>
              </a:ext>
            </a:extLst>
          </p:cNvPr>
          <p:cNvSpPr/>
          <p:nvPr/>
        </p:nvSpPr>
        <p:spPr>
          <a:xfrm>
            <a:off x="4603970" y="10424898"/>
            <a:ext cx="34309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Question (Input):</a:t>
            </a:r>
          </a:p>
          <a:p>
            <a:pPr algn="r">
              <a:spcAft>
                <a:spcPts val="0"/>
              </a:spcAft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Where is the football?</a:t>
            </a:r>
          </a:p>
          <a:p>
            <a:pPr algn="r">
              <a:spcAft>
                <a:spcPts val="0"/>
              </a:spcAft>
            </a:pP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2" charset="0"/>
            </a:endParaRPr>
          </a:p>
          <a:p>
            <a:pPr algn="r">
              <a:spcAft>
                <a:spcPts val="0"/>
              </a:spcAft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Answer (Output):</a:t>
            </a:r>
          </a:p>
          <a:p>
            <a:pPr algn="r">
              <a:spcAft>
                <a:spcPts val="0"/>
              </a:spcAft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Hallwa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A92249E-13F0-4113-85A4-8F3E9A29591D}"/>
              </a:ext>
            </a:extLst>
          </p:cNvPr>
          <p:cNvSpPr txBox="1"/>
          <p:nvPr/>
        </p:nvSpPr>
        <p:spPr>
          <a:xfrm>
            <a:off x="476703" y="7792044"/>
            <a:ext cx="372953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en-US" sz="2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The model reads a passage of text…</a:t>
            </a:r>
          </a:p>
        </p:txBody>
      </p:sp>
      <p:sp>
        <p:nvSpPr>
          <p:cNvPr id="30" name="Isosceles Triangle 29">
            <a:extLst>
              <a:ext uri="{FF2B5EF4-FFF2-40B4-BE49-F238E27FC236}">
                <a16:creationId xmlns:a16="http://schemas.microsoft.com/office/drawing/2014/main" id="{3E47F39F-95F5-4F43-B48B-03024C19EF1F}"/>
              </a:ext>
            </a:extLst>
          </p:cNvPr>
          <p:cNvSpPr/>
          <p:nvPr/>
        </p:nvSpPr>
        <p:spPr>
          <a:xfrm rot="5400000">
            <a:off x="3339443" y="8681053"/>
            <a:ext cx="1574372" cy="32845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30" name="Picture 6" descr="Image result for file icon">
            <a:extLst>
              <a:ext uri="{FF2B5EF4-FFF2-40B4-BE49-F238E27FC236}">
                <a16:creationId xmlns:a16="http://schemas.microsoft.com/office/drawing/2014/main" id="{9EC42082-961C-4C87-9FC0-D8422B4F1D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4281" y="8956941"/>
            <a:ext cx="805736" cy="805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388453E3-A4FC-4747-9247-23CA82791717}"/>
              </a:ext>
            </a:extLst>
          </p:cNvPr>
          <p:cNvSpPr txBox="1"/>
          <p:nvPr/>
        </p:nvSpPr>
        <p:spPr>
          <a:xfrm>
            <a:off x="3537384" y="7792044"/>
            <a:ext cx="449751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0"/>
              </a:spcAft>
            </a:pPr>
            <a:r>
              <a:rPr lang="en-US" sz="2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…and answers questions about the contents</a:t>
            </a:r>
          </a:p>
        </p:txBody>
      </p:sp>
      <p:sp>
        <p:nvSpPr>
          <p:cNvPr id="31" name="Isosceles Triangle 30">
            <a:extLst>
              <a:ext uri="{FF2B5EF4-FFF2-40B4-BE49-F238E27FC236}">
                <a16:creationId xmlns:a16="http://schemas.microsoft.com/office/drawing/2014/main" id="{3E47F39F-95F5-4F43-B48B-03024C19EF1F}"/>
              </a:ext>
            </a:extLst>
          </p:cNvPr>
          <p:cNvSpPr/>
          <p:nvPr/>
        </p:nvSpPr>
        <p:spPr>
          <a:xfrm rot="5400000">
            <a:off x="3411006" y="11230165"/>
            <a:ext cx="1431247" cy="32845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Image result for question answer icon"/>
          <p:cNvPicPr>
            <a:picLocks noChangeAspect="1" noChangeArrowheads="1"/>
          </p:cNvPicPr>
          <p:nvPr/>
        </p:nvPicPr>
        <p:blipFill rotWithShape="1">
          <a:blip r:embed="rId11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5" b="9356"/>
          <a:stretch/>
        </p:blipFill>
        <p:spPr bwMode="auto">
          <a:xfrm>
            <a:off x="5830303" y="8696953"/>
            <a:ext cx="1713155" cy="1644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12"/>
          <a:srcRect l="9868" r="2150"/>
          <a:stretch/>
        </p:blipFill>
        <p:spPr>
          <a:xfrm>
            <a:off x="9281159" y="9991556"/>
            <a:ext cx="8260249" cy="4126353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8975941" y="4053841"/>
            <a:ext cx="8362937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MemNN</a:t>
            </a:r>
            <a:r>
              <a:rPr lang="en-US" sz="2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:</a:t>
            </a:r>
            <a:r>
              <a:rPr lang="en-US" sz="2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 A multi-hop memory network replacing the contextual RNN embedding of our baseline with learning from an external-memory representation</a:t>
            </a:r>
            <a:endParaRPr lang="en-US" sz="2600" b="1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2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9502538" y="10912246"/>
            <a:ext cx="850987" cy="400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endParaRPr lang="en-US" sz="2000" b="1" i="1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2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9502538" y="12633625"/>
            <a:ext cx="850987" cy="400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endParaRPr lang="en-US" sz="2000" b="1" i="1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2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9058483" y="10276519"/>
            <a:ext cx="22072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Input Sentence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15702193" y="9283669"/>
            <a:ext cx="22072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Predicted Answer</a:t>
            </a:r>
          </a:p>
        </p:txBody>
      </p:sp>
      <p:cxnSp>
        <p:nvCxnSpPr>
          <p:cNvPr id="41" name="Straight Connector 40"/>
          <p:cNvCxnSpPr/>
          <p:nvPr/>
        </p:nvCxnSpPr>
        <p:spPr>
          <a:xfrm flipH="1" flipV="1">
            <a:off x="9502538" y="10676630"/>
            <a:ext cx="159622" cy="91512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12715607" y="13115756"/>
            <a:ext cx="876773" cy="7797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endParaRPr lang="en-US" sz="2000" b="1" i="1" dirty="0">
              <a:solidFill>
                <a:schemeClr val="tx1">
                  <a:lumMod val="75000"/>
                  <a:lumOff val="25000"/>
                </a:schemeClr>
              </a:solidFill>
              <a:latin typeface="Helvetica" pitchFamily="2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11204041" y="13717800"/>
            <a:ext cx="13537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Question</a:t>
            </a:r>
          </a:p>
        </p:txBody>
      </p:sp>
      <p:cxnSp>
        <p:nvCxnSpPr>
          <p:cNvPr id="77" name="Straight Connector 76"/>
          <p:cNvCxnSpPr>
            <a:stCxn id="76" idx="3"/>
          </p:cNvCxnSpPr>
          <p:nvPr/>
        </p:nvCxnSpPr>
        <p:spPr>
          <a:xfrm flipV="1">
            <a:off x="12557760" y="13801557"/>
            <a:ext cx="1021727" cy="116298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9272780" y="13599992"/>
            <a:ext cx="17152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Embedding Layers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0D0AE18-5944-4ED3-ABED-7ACC2F7EEA19}"/>
              </a:ext>
            </a:extLst>
          </p:cNvPr>
          <p:cNvCxnSpPr>
            <a:cxnSpLocks/>
            <a:stCxn id="82" idx="0"/>
          </p:cNvCxnSpPr>
          <p:nvPr/>
        </p:nvCxnSpPr>
        <p:spPr>
          <a:xfrm flipV="1">
            <a:off x="10130416" y="13033736"/>
            <a:ext cx="523573" cy="56625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2E0CCB-75FD-48D3-9A52-850CF8EA2A15}"/>
              </a:ext>
            </a:extLst>
          </p:cNvPr>
          <p:cNvCxnSpPr>
            <a:cxnSpLocks/>
            <a:stCxn id="70" idx="1"/>
          </p:cNvCxnSpPr>
          <p:nvPr/>
        </p:nvCxnSpPr>
        <p:spPr>
          <a:xfrm flipH="1">
            <a:off x="15106651" y="9637612"/>
            <a:ext cx="595542" cy="55270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14475920" y="13541514"/>
            <a:ext cx="22072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Multi-Hop Structure</a:t>
            </a:r>
          </a:p>
        </p:txBody>
      </p:sp>
      <p:cxnSp>
        <p:nvCxnSpPr>
          <p:cNvPr id="46" name="Straight Connector 45"/>
          <p:cNvCxnSpPr/>
          <p:nvPr/>
        </p:nvCxnSpPr>
        <p:spPr>
          <a:xfrm flipV="1">
            <a:off x="15196920" y="13316863"/>
            <a:ext cx="218986" cy="224651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/>
              <p:nvPr/>
            </p:nvSpPr>
            <p:spPr>
              <a:xfrm>
                <a:off x="9006840" y="5490866"/>
                <a:ext cx="4023360" cy="12926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:r>
                  <a:rPr lang="en-US" sz="2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itchFamily="2" charset="0"/>
                  </a:rPr>
                  <a:t>Probability of the encoded question </a:t>
                </a:r>
                <a14:m>
                  <m:oMath xmlns:m="http://schemas.openxmlformats.org/officeDocument/2006/math">
                    <m:r>
                      <a:rPr lang="en-US" sz="26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𝑢</m:t>
                    </m:r>
                  </m:oMath>
                </a14:m>
                <a:r>
                  <a:rPr lang="en-US" sz="2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itchFamily="2" charset="0"/>
                  </a:rPr>
                  <a:t> across inputs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sz="26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6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6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sz="26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sz="26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sz="26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6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sz="26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sz="26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…</m:t>
                        </m:r>
                        <m:sSub>
                          <m:sSubPr>
                            <m:ctrlPr>
                              <a:rPr lang="en-US" sz="26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6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sz="26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sz="2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itchFamily="2" charset="0"/>
                  </a:rPr>
                  <a:t>:</a:t>
                </a:r>
              </a:p>
            </p:txBody>
          </p:sp>
        </mc:Choice>
        <mc:Fallback xmlns="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06840" y="5490866"/>
                <a:ext cx="4023360" cy="1292662"/>
              </a:xfrm>
              <a:prstGeom prst="rect">
                <a:avLst/>
              </a:prstGeom>
              <a:blipFill>
                <a:blip r:embed="rId13"/>
                <a:stretch>
                  <a:fillRect l="-2727" t="-4717" r="-4545" b="-1084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/>
              <p:nvPr/>
            </p:nvSpPr>
            <p:spPr>
              <a:xfrm>
                <a:off x="9051722" y="6876523"/>
                <a:ext cx="3663885" cy="653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𝒑</m:t>
                          </m:r>
                        </m:e>
                        <m:sub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</m:sSub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𝑺𝒐𝒇𝒕𝒎𝒂𝒙</m:t>
                      </m:r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𝒖</m:t>
                          </m:r>
                        </m:e>
                        <m:sup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𝑻</m:t>
                          </m:r>
                        </m:sup>
                      </m:sSup>
                      <m:sSub>
                        <m:sSub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𝒎</m:t>
                          </m:r>
                        </m:e>
                        <m:sub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</m:sSub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2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Helvetica" pitchFamily="2" charset="0"/>
                </a:endParaRPr>
              </a:p>
            </p:txBody>
          </p:sp>
        </mc:Choice>
        <mc:Fallback xmlns=""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1722" y="6876523"/>
                <a:ext cx="3663885" cy="653449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1" name="TextBox 60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19608061" y="9532882"/>
            <a:ext cx="2108939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300" b="1" i="1" dirty="0">
                <a:solidFill>
                  <a:schemeClr val="bg1">
                    <a:lumMod val="65000"/>
                  </a:schemeClr>
                </a:solidFill>
                <a:latin typeface="Helvetica" pitchFamily="2" charset="0"/>
              </a:rPr>
              <a:t># Epoch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 rot="16200000">
            <a:off x="16850419" y="7235431"/>
            <a:ext cx="362623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300" b="1" i="1" dirty="0">
                <a:solidFill>
                  <a:schemeClr val="bg1">
                    <a:lumMod val="65000"/>
                  </a:schemeClr>
                </a:solidFill>
                <a:latin typeface="Helvetica" pitchFamily="2" charset="0"/>
              </a:rPr>
              <a:t>QA2 Accuracy (%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/>
              <p:nvPr/>
            </p:nvSpPr>
            <p:spPr>
              <a:xfrm>
                <a:off x="14069220" y="6591157"/>
                <a:ext cx="2560838" cy="12241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𝒐</m:t>
                      </m:r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US" sz="2600" b="1" i="1" dirty="0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600" b="1" i="1" dirty="0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𝒑</m:t>
                              </m:r>
                            </m:e>
                            <m:sub>
                              <m:r>
                                <a:rPr lang="en-US" sz="2600" b="1" i="1" dirty="0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2600" b="1" i="1" dirty="0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600" b="1" i="1" dirty="0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𝒄</m:t>
                              </m:r>
                            </m:e>
                            <m:sub>
                              <m:r>
                                <a:rPr lang="en-US" sz="2600" b="1" i="1" dirty="0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n-US" sz="2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Helvetica" pitchFamily="2" charset="0"/>
                </a:endParaRPr>
              </a:p>
            </p:txBody>
          </p:sp>
        </mc:Choice>
        <mc:Fallback xmlns=""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69220" y="6591157"/>
                <a:ext cx="2560838" cy="1224181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1" name="TextBox 70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9006840" y="7794248"/>
            <a:ext cx="408252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Final prediction and activation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/>
              <p:nvPr/>
            </p:nvSpPr>
            <p:spPr>
              <a:xfrm>
                <a:off x="9051722" y="8670416"/>
                <a:ext cx="397847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</m:acc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𝑺𝒐𝒇𝒕𝒎𝒂𝒙</m:t>
                      </m:r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𝑾</m:t>
                      </m:r>
                      <m:d>
                        <m:d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𝒐</m:t>
                          </m:r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𝒖</m:t>
                          </m:r>
                        </m:e>
                      </m:d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2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Helvetica" pitchFamily="2" charset="0"/>
                </a:endParaRPr>
              </a:p>
            </p:txBody>
          </p:sp>
        </mc:Choice>
        <mc:Fallback xmlns=""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1722" y="8670416"/>
                <a:ext cx="3978478" cy="646331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/>
              <p:nvPr/>
            </p:nvSpPr>
            <p:spPr>
              <a:xfrm>
                <a:off x="13360400" y="8670416"/>
                <a:ext cx="3978478" cy="6805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𝒖</m:t>
                          </m:r>
                        </m:e>
                        <m:sup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𝒌</m:t>
                          </m:r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p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𝒖</m:t>
                          </m:r>
                        </m:e>
                        <m:sup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𝒌</m:t>
                          </m:r>
                        </m:sup>
                      </m:sSup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𝒐</m:t>
                          </m:r>
                        </m:e>
                        <m:sup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𝒌</m:t>
                          </m:r>
                        </m:sup>
                      </m:sSup>
                    </m:oMath>
                  </m:oMathPara>
                </a14:m>
                <a:endParaRPr lang="en-US" sz="2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Helvetica" pitchFamily="2" charset="0"/>
                </a:endParaRPr>
              </a:p>
            </p:txBody>
          </p:sp>
        </mc:Choice>
        <mc:Fallback xmlns=""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360400" y="8670416"/>
                <a:ext cx="3978478" cy="680571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5" name="TextBox 74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18652106" y="10192965"/>
            <a:ext cx="826018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QA2 accuracies of ~80% reached at convergence with MemNN-2Hop, but single-hop mostly mirrored baseline</a:t>
            </a:r>
          </a:p>
        </p:txBody>
      </p:sp>
      <p:graphicFrame>
        <p:nvGraphicFramePr>
          <p:cNvPr id="35" name="Table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4712223"/>
              </p:ext>
            </p:extLst>
          </p:nvPr>
        </p:nvGraphicFramePr>
        <p:xfrm>
          <a:off x="18229174" y="12568416"/>
          <a:ext cx="8593226" cy="48908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167">
                  <a:extLst>
                    <a:ext uri="{9D8B030D-6E8A-4147-A177-3AD203B41FA5}">
                      <a16:colId xmlns:a16="http://schemas.microsoft.com/office/drawing/2014/main" val="935771546"/>
                    </a:ext>
                  </a:extLst>
                </a:gridCol>
                <a:gridCol w="1174238">
                  <a:extLst>
                    <a:ext uri="{9D8B030D-6E8A-4147-A177-3AD203B41FA5}">
                      <a16:colId xmlns:a16="http://schemas.microsoft.com/office/drawing/2014/main" val="3674845821"/>
                    </a:ext>
                  </a:extLst>
                </a:gridCol>
                <a:gridCol w="1487368">
                  <a:extLst>
                    <a:ext uri="{9D8B030D-6E8A-4147-A177-3AD203B41FA5}">
                      <a16:colId xmlns:a16="http://schemas.microsoft.com/office/drawing/2014/main" val="2331187486"/>
                    </a:ext>
                  </a:extLst>
                </a:gridCol>
                <a:gridCol w="1393034">
                  <a:extLst>
                    <a:ext uri="{9D8B030D-6E8A-4147-A177-3AD203B41FA5}">
                      <a16:colId xmlns:a16="http://schemas.microsoft.com/office/drawing/2014/main" val="3028996048"/>
                    </a:ext>
                  </a:extLst>
                </a:gridCol>
                <a:gridCol w="1503419">
                  <a:extLst>
                    <a:ext uri="{9D8B030D-6E8A-4147-A177-3AD203B41FA5}">
                      <a16:colId xmlns:a16="http://schemas.microsoft.com/office/drawing/2014/main" val="3445287064"/>
                    </a:ext>
                  </a:extLst>
                </a:gridCol>
              </a:tblGrid>
              <a:tr h="9493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1" u="none" strike="noStrike" dirty="0">
                          <a:solidFill>
                            <a:schemeClr val="bg1"/>
                          </a:solidFill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QA Challenge</a:t>
                      </a:r>
                      <a:endParaRPr 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1" u="none" strike="noStrike" dirty="0">
                          <a:solidFill>
                            <a:schemeClr val="bg1"/>
                          </a:solidFill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Baseline</a:t>
                      </a:r>
                      <a:endParaRPr 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1" u="none" strike="noStrike" dirty="0">
                          <a:solidFill>
                            <a:schemeClr val="bg1"/>
                          </a:solidFill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LSTM + Self-</a:t>
                      </a:r>
                      <a:r>
                        <a:rPr lang="en-US" sz="2000" b="1" u="none" strike="noStrike" dirty="0" err="1">
                          <a:solidFill>
                            <a:schemeClr val="bg1"/>
                          </a:solidFill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Attn</a:t>
                      </a:r>
                      <a:endParaRPr 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1" u="none" strike="noStrike" dirty="0" err="1">
                          <a:solidFill>
                            <a:schemeClr val="bg1"/>
                          </a:solidFill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MemNN</a:t>
                      </a:r>
                      <a:r>
                        <a:rPr lang="en-US" sz="2000" b="1" u="none" strike="noStrike" dirty="0">
                          <a:solidFill>
                            <a:schemeClr val="bg1"/>
                          </a:solidFill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 One-Hop</a:t>
                      </a:r>
                      <a:endParaRPr 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b="1" u="none" strike="noStrike" dirty="0" err="1">
                          <a:solidFill>
                            <a:schemeClr val="bg1"/>
                          </a:solidFill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MemNN</a:t>
                      </a:r>
                      <a:r>
                        <a:rPr lang="en-US" sz="2000" b="1" u="none" strike="noStrike" dirty="0">
                          <a:solidFill>
                            <a:schemeClr val="bg1"/>
                          </a:solidFill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 Two-Hop</a:t>
                      </a:r>
                      <a:endParaRPr 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4557972"/>
                  </a:ext>
                </a:extLst>
              </a:tr>
              <a:tr h="48956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QA1 </a:t>
                      </a:r>
                      <a:r>
                        <a:rPr lang="en-US" sz="14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Single Supporting Fac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42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51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99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99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888105"/>
                  </a:ext>
                </a:extLst>
              </a:tr>
              <a:tr h="48956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QA2 </a:t>
                      </a:r>
                      <a:r>
                        <a:rPr lang="en-US" sz="14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Two Supporting Fact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33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17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36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75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5868675"/>
                  </a:ext>
                </a:extLst>
              </a:tr>
              <a:tr h="51452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QA4 </a:t>
                      </a:r>
                      <a:r>
                        <a:rPr lang="en-US" sz="14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Two Argument Relation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79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70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67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68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36174"/>
                  </a:ext>
                </a:extLst>
              </a:tr>
              <a:tr h="48956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QA6 </a:t>
                      </a:r>
                      <a:r>
                        <a:rPr lang="en-US" sz="14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Yes/No Question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74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50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50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50%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1474042"/>
                  </a:ext>
                </a:extLst>
              </a:tr>
              <a:tr h="48956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QA7 </a:t>
                      </a:r>
                      <a:r>
                        <a:rPr lang="en-US" sz="14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Counting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76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57%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80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83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7245727"/>
                  </a:ext>
                </a:extLst>
              </a:tr>
              <a:tr h="48956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QA8 </a:t>
                      </a:r>
                      <a:r>
                        <a:rPr lang="en-US" sz="14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Lists Set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72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77% 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86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89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532246"/>
                  </a:ext>
                </a:extLst>
              </a:tr>
              <a:tr h="48956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QA9 </a:t>
                      </a:r>
                      <a:r>
                        <a:rPr lang="en-US" sz="14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Simple Negatio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71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64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90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90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4881883"/>
                  </a:ext>
                </a:extLst>
              </a:tr>
              <a:tr h="48956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QA10 </a:t>
                      </a:r>
                      <a:r>
                        <a:rPr lang="en-US" sz="1400" b="1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Indefinite Knowledg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62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44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82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82%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6453965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/>
              <p:nvPr/>
            </p:nvSpPr>
            <p:spPr>
              <a:xfrm>
                <a:off x="13409931" y="5490866"/>
                <a:ext cx="4176155" cy="12926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:r>
                  <a:rPr lang="en-US" sz="2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itchFamily="2" charset="0"/>
                  </a:rPr>
                  <a:t>Output memory representation of encoded input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6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6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en-US" sz="2600" i="1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endParaRPr lang="en-US" sz="2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Helvetica" pitchFamily="2" charset="0"/>
                </a:endParaRPr>
              </a:p>
            </p:txBody>
          </p:sp>
        </mc:Choice>
        <mc:Fallback xmlns=""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409931" y="5490866"/>
                <a:ext cx="4176155" cy="1292662"/>
              </a:xfrm>
              <a:prstGeom prst="rect">
                <a:avLst/>
              </a:prstGeom>
              <a:blipFill>
                <a:blip r:embed="rId18"/>
                <a:stretch>
                  <a:fillRect l="-2628" t="-4717" r="-1314" b="-1084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0" name="TextBox 79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13409932" y="7794248"/>
            <a:ext cx="408252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K-stacking of “hops” in the memory network:</a:t>
            </a:r>
          </a:p>
        </p:txBody>
      </p:sp>
      <p:sp>
        <p:nvSpPr>
          <p:cNvPr id="47" name="Oval 46"/>
          <p:cNvSpPr/>
          <p:nvPr/>
        </p:nvSpPr>
        <p:spPr>
          <a:xfrm>
            <a:off x="8686800" y="5589865"/>
            <a:ext cx="283885" cy="283885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</a:p>
        </p:txBody>
      </p:sp>
      <p:sp>
        <p:nvSpPr>
          <p:cNvPr id="83" name="Oval 82"/>
          <p:cNvSpPr/>
          <p:nvPr/>
        </p:nvSpPr>
        <p:spPr>
          <a:xfrm>
            <a:off x="13144706" y="5589865"/>
            <a:ext cx="283885" cy="283885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</a:p>
        </p:txBody>
      </p:sp>
      <p:sp>
        <p:nvSpPr>
          <p:cNvPr id="84" name="Oval 83"/>
          <p:cNvSpPr/>
          <p:nvPr/>
        </p:nvSpPr>
        <p:spPr>
          <a:xfrm>
            <a:off x="8686800" y="7908964"/>
            <a:ext cx="283885" cy="283885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</a:p>
        </p:txBody>
      </p:sp>
      <p:sp>
        <p:nvSpPr>
          <p:cNvPr id="85" name="Oval 84"/>
          <p:cNvSpPr/>
          <p:nvPr/>
        </p:nvSpPr>
        <p:spPr>
          <a:xfrm>
            <a:off x="13144706" y="7908964"/>
            <a:ext cx="283885" cy="283885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/>
              <p:nvPr/>
            </p:nvSpPr>
            <p:spPr>
              <a:xfrm>
                <a:off x="8975941" y="14554200"/>
                <a:ext cx="8550478" cy="892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:r>
                  <a:rPr lang="en-US" sz="2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itchFamily="2" charset="0"/>
                  </a:rPr>
                  <a:t>Self-Attention:</a:t>
                </a:r>
                <a:r>
                  <a:rPr lang="en-US" sz="2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itchFamily="2" charset="0"/>
                  </a:rPr>
                  <a:t> Based on Microsoft R-Net – “dense” attention calculation for each representation </a:t>
                </a:r>
                <a14:m>
                  <m:oMath xmlns:m="http://schemas.openxmlformats.org/officeDocument/2006/math">
                    <m:r>
                      <a:rPr lang="en-US" sz="26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{</m:t>
                    </m:r>
                    <m:sSub>
                      <m:sSubPr>
                        <m:ctrlPr>
                          <a:rPr lang="en-US" sz="26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6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𝑣</m:t>
                        </m:r>
                      </m:e>
                      <m:sub>
                        <m:r>
                          <a:rPr lang="en-US" sz="26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26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…</m:t>
                    </m:r>
                    <m:sSub>
                      <m:sSubPr>
                        <m:ctrlPr>
                          <a:rPr lang="en-US" sz="26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6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𝑣</m:t>
                        </m:r>
                      </m:e>
                      <m:sub>
                        <m:r>
                          <a:rPr lang="en-US" sz="2600" b="0" i="1" smtClean="0">
                            <a:solidFill>
                              <a:schemeClr val="tx1">
                                <a:lumMod val="75000"/>
                                <a:lumOff val="2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</m:sSub>
                    <m:r>
                      <a:rPr lang="en-US" sz="2600" b="0" i="1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lang="en-US" sz="2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Helvetica" pitchFamily="2" charset="0"/>
                </a:endParaRPr>
              </a:p>
            </p:txBody>
          </p:sp>
        </mc:Choice>
        <mc:Fallback xmlns=""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75941" y="14554200"/>
                <a:ext cx="8550478" cy="892552"/>
              </a:xfrm>
              <a:prstGeom prst="rect">
                <a:avLst/>
              </a:prstGeom>
              <a:blipFill>
                <a:blip r:embed="rId19"/>
                <a:stretch>
                  <a:fillRect l="-1283" t="-6849" b="-1643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/>
              <p:nvPr/>
            </p:nvSpPr>
            <p:spPr>
              <a:xfrm>
                <a:off x="9051722" y="16007914"/>
                <a:ext cx="4300669" cy="7296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𝒆</m:t>
                          </m:r>
                        </m:e>
                        <m:sub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  <m:sup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</m:sup>
                      </m:sSubSup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𝒗</m:t>
                          </m:r>
                        </m:e>
                        <m:sup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𝑻</m:t>
                          </m:r>
                        </m:sup>
                      </m:sSup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𝒕𝒂𝒏𝒉</m:t>
                      </m:r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𝑾</m:t>
                          </m:r>
                        </m:e>
                        <m:sub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sSub>
                        <m:sSub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𝒗</m:t>
                          </m:r>
                        </m:e>
                        <m:sub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𝑾</m:t>
                          </m:r>
                        </m:e>
                        <m:sub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  <m:sSub>
                        <m:sSub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𝒗</m:t>
                          </m:r>
                        </m:e>
                        <m:sub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</m:sSub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2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Helvetica" pitchFamily="2" charset="0"/>
                </a:endParaRPr>
              </a:p>
            </p:txBody>
          </p:sp>
        </mc:Choice>
        <mc:Fallback xmlns="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1722" y="16007914"/>
                <a:ext cx="4300669" cy="729623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/>
              <p:nvPr/>
            </p:nvSpPr>
            <p:spPr>
              <a:xfrm>
                <a:off x="13868400" y="16007914"/>
                <a:ext cx="2937415" cy="6565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𝜶</m:t>
                          </m:r>
                        </m:e>
                        <m:sub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</m:sSub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𝑺𝒐𝒇𝒕𝒎𝒂𝒙</m:t>
                      </m:r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𝒆</m:t>
                          </m:r>
                        </m:e>
                        <m:sup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</m:sup>
                      </m:sSup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2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Helvetica" pitchFamily="2" charset="0"/>
                </a:endParaRPr>
              </a:p>
            </p:txBody>
          </p:sp>
        </mc:Choice>
        <mc:Fallback xmlns=""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68400" y="16007914"/>
                <a:ext cx="2937415" cy="656526"/>
              </a:xfrm>
              <a:prstGeom prst="rect">
                <a:avLst/>
              </a:prstGeom>
              <a:blipFill>
                <a:blip r:embed="rId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/>
              <p:nvPr/>
            </p:nvSpPr>
            <p:spPr>
              <a:xfrm>
                <a:off x="11516985" y="16654845"/>
                <a:ext cx="2427615" cy="1457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p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</m:sup>
                      </m:sSup>
                      <m:r>
                        <a:rPr lang="en-US" sz="2600" b="1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𝒋</m:t>
                          </m:r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en-US" sz="2600" b="1" i="1" dirty="0" smtClean="0"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𝑵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2600" b="1" i="1" dirty="0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2600" b="1" i="1" dirty="0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𝜶</m:t>
                              </m:r>
                            </m:e>
                            <m:sub>
                              <m:r>
                                <a:rPr lang="en-US" sz="2600" b="1" i="1" dirty="0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</m:sub>
                            <m:sup>
                              <m:r>
                                <a:rPr lang="en-US" sz="2600" b="1" i="1" dirty="0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sup>
                          </m:sSubSup>
                          <m:sSub>
                            <m:sSubPr>
                              <m:ctrlPr>
                                <a:rPr lang="en-US" sz="2600" b="1" i="1" dirty="0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600" b="1" i="1" dirty="0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𝒗</m:t>
                              </m:r>
                            </m:e>
                            <m:sub>
                              <m:r>
                                <a:rPr lang="en-US" sz="2600" b="1" i="1" dirty="0" smtClean="0">
                                  <a:solidFill>
                                    <a:schemeClr val="tx1">
                                      <a:lumMod val="75000"/>
                                      <a:lumOff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n-US" sz="2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Helvetica" pitchFamily="2" charset="0"/>
                </a:endParaRPr>
              </a:p>
            </p:txBody>
          </p:sp>
        </mc:Choice>
        <mc:Fallback xmlns=""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382B51A0-1B43-824C-BACC-1DC717DC94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16985" y="16654845"/>
                <a:ext cx="2427615" cy="1457515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0" name="TextBox 89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9006840" y="15529012"/>
            <a:ext cx="272444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Dot multiplication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13868400" y="15529012"/>
            <a:ext cx="272444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Activation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9067800" y="16859655"/>
            <a:ext cx="21612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Self-attention output</a:t>
            </a:r>
          </a:p>
        </p:txBody>
      </p:sp>
      <p:sp>
        <p:nvSpPr>
          <p:cNvPr id="93" name="Oval 92"/>
          <p:cNvSpPr/>
          <p:nvPr/>
        </p:nvSpPr>
        <p:spPr>
          <a:xfrm>
            <a:off x="8686800" y="15621000"/>
            <a:ext cx="283885" cy="283885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</a:p>
        </p:txBody>
      </p:sp>
      <p:sp>
        <p:nvSpPr>
          <p:cNvPr id="95" name="Oval 94"/>
          <p:cNvSpPr/>
          <p:nvPr/>
        </p:nvSpPr>
        <p:spPr>
          <a:xfrm>
            <a:off x="8686800" y="17136655"/>
            <a:ext cx="283885" cy="283885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</a:p>
        </p:txBody>
      </p:sp>
      <p:sp>
        <p:nvSpPr>
          <p:cNvPr id="96" name="Oval 95"/>
          <p:cNvSpPr/>
          <p:nvPr/>
        </p:nvSpPr>
        <p:spPr>
          <a:xfrm>
            <a:off x="13563440" y="15633290"/>
            <a:ext cx="283885" cy="283885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</a:p>
        </p:txBody>
      </p:sp>
      <p:sp>
        <p:nvSpPr>
          <p:cNvPr id="48" name="Isosceles Triangle 47"/>
          <p:cNvSpPr/>
          <p:nvPr/>
        </p:nvSpPr>
        <p:spPr>
          <a:xfrm>
            <a:off x="21259800" y="9991556"/>
            <a:ext cx="2438400" cy="179894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/>
        </p:nvSpPr>
        <p:spPr>
          <a:xfrm flipV="1">
            <a:off x="21259800" y="12173518"/>
            <a:ext cx="2438400" cy="179894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8" name="Straight Connector 97"/>
          <p:cNvCxnSpPr/>
          <p:nvPr/>
        </p:nvCxnSpPr>
        <p:spPr>
          <a:xfrm>
            <a:off x="18777041" y="11134193"/>
            <a:ext cx="80103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382B51A0-1B43-824C-BACC-1DC717DC9474}"/>
              </a:ext>
            </a:extLst>
          </p:cNvPr>
          <p:cNvSpPr txBox="1"/>
          <p:nvPr/>
        </p:nvSpPr>
        <p:spPr>
          <a:xfrm>
            <a:off x="18652106" y="11232967"/>
            <a:ext cx="826018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</a:rPr>
              <a:t>RNN vs. external memory exhibit clear pros and cons depending on task (contextual vs. factual intelligence)</a:t>
            </a:r>
          </a:p>
        </p:txBody>
      </p:sp>
    </p:spTree>
    <p:extLst>
      <p:ext uri="{BB962C8B-B14F-4D97-AF65-F5344CB8AC3E}">
        <p14:creationId xmlns:p14="http://schemas.microsoft.com/office/powerpoint/2010/main" val="13227009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01</TotalTime>
  <Words>437</Words>
  <Application>Microsoft Macintosh PowerPoint</Application>
  <PresentationFormat>Custom</PresentationFormat>
  <Paragraphs>10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mbria Math</vt:lpstr>
      <vt:lpstr>Helvetica</vt:lpstr>
      <vt:lpstr>Office Theme</vt:lpstr>
      <vt:lpstr>think-cell Slide</vt:lpstr>
      <vt:lpstr>PowerPoint Presentation</vt:lpstr>
    </vt:vector>
  </TitlesOfParts>
  <Company>Microsoft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ber, Christina</dc:creator>
  <cp:lastModifiedBy>Megan Louise Knight</cp:lastModifiedBy>
  <cp:revision>143</cp:revision>
  <dcterms:created xsi:type="dcterms:W3CDTF">2014-07-14T23:05:16Z</dcterms:created>
  <dcterms:modified xsi:type="dcterms:W3CDTF">2018-12-02T23:58:58Z</dcterms:modified>
</cp:coreProperties>
</file>